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969FED-D8E6-43EC-BAD5-53753D7F8DB8}" v="43" dt="2024-09-03T04:05:09.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Sathe, Anshul S SBOBNG-PTIV/RA" userId="dab23bb9-036c-4bec-b836-4f0af9c9f5f1" providerId="ADAL" clId="{AA969FED-D8E6-43EC-BAD5-53753D7F8DB8}"/>
    <pc:docChg chg="undo redo custSel modSld">
      <pc:chgData name="Sathe, Anshul S SBOBNG-PTIV/RA" userId="dab23bb9-036c-4bec-b836-4f0af9c9f5f1" providerId="ADAL" clId="{AA969FED-D8E6-43EC-BAD5-53753D7F8DB8}" dt="2024-09-03T04:09:03.357" v="2399" actId="5793"/>
      <pc:docMkLst>
        <pc:docMk/>
      </pc:docMkLst>
      <pc:sldChg chg="modSp mod">
        <pc:chgData name="Sathe, Anshul S SBOBNG-PTIV/RA" userId="dab23bb9-036c-4bec-b836-4f0af9c9f5f1" providerId="ADAL" clId="{AA969FED-D8E6-43EC-BAD5-53753D7F8DB8}" dt="2024-09-03T03:27:14.133" v="11" actId="20577"/>
        <pc:sldMkLst>
          <pc:docMk/>
          <pc:sldMk cId="3267775274" sldId="256"/>
        </pc:sldMkLst>
        <pc:spChg chg="mod">
          <ac:chgData name="Sathe, Anshul S SBOBNG-PTIV/RA" userId="dab23bb9-036c-4bec-b836-4f0af9c9f5f1" providerId="ADAL" clId="{AA969FED-D8E6-43EC-BAD5-53753D7F8DB8}" dt="2024-09-03T03:27:14.133" v="11" actId="20577"/>
          <ac:spMkLst>
            <pc:docMk/>
            <pc:sldMk cId="3267775274" sldId="256"/>
            <ac:spMk id="12" creationId="{8A24547F-8A92-CDC5-A578-3733390534F2}"/>
          </ac:spMkLst>
        </pc:spChg>
      </pc:sldChg>
      <pc:sldChg chg="addSp modSp mod">
        <pc:chgData name="Sathe, Anshul S SBOBNG-PTIV/RA" userId="dab23bb9-036c-4bec-b836-4f0af9c9f5f1" providerId="ADAL" clId="{AA969FED-D8E6-43EC-BAD5-53753D7F8DB8}" dt="2024-09-03T03:50:37.598" v="1208" actId="20577"/>
        <pc:sldMkLst>
          <pc:docMk/>
          <pc:sldMk cId="867832184" sldId="2147375589"/>
        </pc:sldMkLst>
        <pc:spChg chg="mod">
          <ac:chgData name="Sathe, Anshul S SBOBNG-PTIV/RA" userId="dab23bb9-036c-4bec-b836-4f0af9c9f5f1" providerId="ADAL" clId="{AA969FED-D8E6-43EC-BAD5-53753D7F8DB8}" dt="2024-09-03T03:50:37.598" v="1208" actId="20577"/>
          <ac:spMkLst>
            <pc:docMk/>
            <pc:sldMk cId="867832184" sldId="2147375589"/>
            <ac:spMk id="10" creationId="{1119CB9E-042F-11E8-F683-654626D307B3}"/>
          </ac:spMkLst>
        </pc:spChg>
        <pc:spChg chg="mod">
          <ac:chgData name="Sathe, Anshul S SBOBNG-PTIV/RA" userId="dab23bb9-036c-4bec-b836-4f0af9c9f5f1" providerId="ADAL" clId="{AA969FED-D8E6-43EC-BAD5-53753D7F8DB8}" dt="2024-09-03T03:28:43.660" v="12" actId="6549"/>
          <ac:spMkLst>
            <pc:docMk/>
            <pc:sldMk cId="867832184" sldId="2147375589"/>
            <ac:spMk id="11" creationId="{CE0DDF5F-FE47-F9A2-FE84-53B63DFF494D}"/>
          </ac:spMkLst>
        </pc:spChg>
        <pc:picChg chg="add mod">
          <ac:chgData name="Sathe, Anshul S SBOBNG-PTIV/RA" userId="dab23bb9-036c-4bec-b836-4f0af9c9f5f1" providerId="ADAL" clId="{AA969FED-D8E6-43EC-BAD5-53753D7F8DB8}" dt="2024-09-03T03:32:36.354" v="145" actId="1076"/>
          <ac:picMkLst>
            <pc:docMk/>
            <pc:sldMk cId="867832184" sldId="2147375589"/>
            <ac:picMk id="6" creationId="{D45259FB-BC34-6093-4773-083962D483FC}"/>
          </ac:picMkLst>
        </pc:picChg>
      </pc:sldChg>
      <pc:sldChg chg="addSp modSp mod">
        <pc:chgData name="Sathe, Anshul S SBOBNG-PTIV/RA" userId="dab23bb9-036c-4bec-b836-4f0af9c9f5f1" providerId="ADAL" clId="{AA969FED-D8E6-43EC-BAD5-53753D7F8DB8}" dt="2024-09-03T03:35:15.994" v="280" actId="1076"/>
        <pc:sldMkLst>
          <pc:docMk/>
          <pc:sldMk cId="245881457" sldId="2147375597"/>
        </pc:sldMkLst>
        <pc:spChg chg="mod">
          <ac:chgData name="Sathe, Anshul S SBOBNG-PTIV/RA" userId="dab23bb9-036c-4bec-b836-4f0af9c9f5f1" providerId="ADAL" clId="{AA969FED-D8E6-43EC-BAD5-53753D7F8DB8}" dt="2024-09-03T03:34:40.893" v="271" actId="114"/>
          <ac:spMkLst>
            <pc:docMk/>
            <pc:sldMk cId="245881457" sldId="2147375597"/>
            <ac:spMk id="11" creationId="{DE9F1BE0-7910-FA1B-DCE8-56EFD1E4FC09}"/>
          </ac:spMkLst>
        </pc:spChg>
        <pc:spChg chg="mod">
          <ac:chgData name="Sathe, Anshul S SBOBNG-PTIV/RA" userId="dab23bb9-036c-4bec-b836-4f0af9c9f5f1" providerId="ADAL" clId="{AA969FED-D8E6-43EC-BAD5-53753D7F8DB8}" dt="2024-09-03T03:35:05.783" v="277" actId="6549"/>
          <ac:spMkLst>
            <pc:docMk/>
            <pc:sldMk cId="245881457" sldId="2147375597"/>
            <ac:spMk id="12" creationId="{E53E5C3F-4D2B-B85F-E592-E58E032C664C}"/>
          </ac:spMkLst>
        </pc:spChg>
        <pc:picChg chg="add mod modCrop">
          <ac:chgData name="Sathe, Anshul S SBOBNG-PTIV/RA" userId="dab23bb9-036c-4bec-b836-4f0af9c9f5f1" providerId="ADAL" clId="{AA969FED-D8E6-43EC-BAD5-53753D7F8DB8}" dt="2024-09-03T03:35:15.994" v="280" actId="1076"/>
          <ac:picMkLst>
            <pc:docMk/>
            <pc:sldMk cId="245881457" sldId="2147375597"/>
            <ac:picMk id="5" creationId="{39F0D796-6B8A-A929-CE46-D05C0BCC26E7}"/>
          </ac:picMkLst>
        </pc:picChg>
      </pc:sldChg>
      <pc:sldChg chg="addSp modSp mod">
        <pc:chgData name="Sathe, Anshul S SBOBNG-PTIV/RA" userId="dab23bb9-036c-4bec-b836-4f0af9c9f5f1" providerId="ADAL" clId="{AA969FED-D8E6-43EC-BAD5-53753D7F8DB8}" dt="2024-09-03T03:39:14.819" v="459" actId="1076"/>
        <pc:sldMkLst>
          <pc:docMk/>
          <pc:sldMk cId="1181112711" sldId="2147375600"/>
        </pc:sldMkLst>
        <pc:spChg chg="mod">
          <ac:chgData name="Sathe, Anshul S SBOBNG-PTIV/RA" userId="dab23bb9-036c-4bec-b836-4f0af9c9f5f1" providerId="ADAL" clId="{AA969FED-D8E6-43EC-BAD5-53753D7F8DB8}" dt="2024-09-03T03:37:50.092" v="450" actId="20577"/>
          <ac:spMkLst>
            <pc:docMk/>
            <pc:sldMk cId="1181112711" sldId="2147375600"/>
            <ac:spMk id="11" creationId="{DE9F1BE0-7910-FA1B-DCE8-56EFD1E4FC09}"/>
          </ac:spMkLst>
        </pc:spChg>
        <pc:spChg chg="mod">
          <ac:chgData name="Sathe, Anshul S SBOBNG-PTIV/RA" userId="dab23bb9-036c-4bec-b836-4f0af9c9f5f1" providerId="ADAL" clId="{AA969FED-D8E6-43EC-BAD5-53753D7F8DB8}" dt="2024-09-03T03:37:53.133" v="451" actId="20577"/>
          <ac:spMkLst>
            <pc:docMk/>
            <pc:sldMk cId="1181112711" sldId="2147375600"/>
            <ac:spMk id="12" creationId="{E53E5C3F-4D2B-B85F-E592-E58E032C664C}"/>
          </ac:spMkLst>
        </pc:spChg>
        <pc:picChg chg="add mod modCrop">
          <ac:chgData name="Sathe, Anshul S SBOBNG-PTIV/RA" userId="dab23bb9-036c-4bec-b836-4f0af9c9f5f1" providerId="ADAL" clId="{AA969FED-D8E6-43EC-BAD5-53753D7F8DB8}" dt="2024-09-03T03:39:14.819" v="459" actId="1076"/>
          <ac:picMkLst>
            <pc:docMk/>
            <pc:sldMk cId="1181112711" sldId="2147375600"/>
            <ac:picMk id="5" creationId="{4AE92C28-8C24-4756-18CD-03F64D58FD39}"/>
          </ac:picMkLst>
        </pc:picChg>
      </pc:sldChg>
      <pc:sldChg chg="addSp modSp mod">
        <pc:chgData name="Sathe, Anshul S SBOBNG-PTIV/RA" userId="dab23bb9-036c-4bec-b836-4f0af9c9f5f1" providerId="ADAL" clId="{AA969FED-D8E6-43EC-BAD5-53753D7F8DB8}" dt="2024-09-03T03:41:37.639" v="575" actId="1076"/>
        <pc:sldMkLst>
          <pc:docMk/>
          <pc:sldMk cId="3233747587" sldId="2147375601"/>
        </pc:sldMkLst>
        <pc:spChg chg="mod">
          <ac:chgData name="Sathe, Anshul S SBOBNG-PTIV/RA" userId="dab23bb9-036c-4bec-b836-4f0af9c9f5f1" providerId="ADAL" clId="{AA969FED-D8E6-43EC-BAD5-53753D7F8DB8}" dt="2024-09-03T03:40:12.895" v="567" actId="5793"/>
          <ac:spMkLst>
            <pc:docMk/>
            <pc:sldMk cId="3233747587" sldId="2147375601"/>
            <ac:spMk id="11" creationId="{DE9F1BE0-7910-FA1B-DCE8-56EFD1E4FC09}"/>
          </ac:spMkLst>
        </pc:spChg>
        <pc:spChg chg="mod">
          <ac:chgData name="Sathe, Anshul S SBOBNG-PTIV/RA" userId="dab23bb9-036c-4bec-b836-4f0af9c9f5f1" providerId="ADAL" clId="{AA969FED-D8E6-43EC-BAD5-53753D7F8DB8}" dt="2024-09-03T03:40:18.343" v="568" actId="20577"/>
          <ac:spMkLst>
            <pc:docMk/>
            <pc:sldMk cId="3233747587" sldId="2147375601"/>
            <ac:spMk id="12" creationId="{E53E5C3F-4D2B-B85F-E592-E58E032C664C}"/>
          </ac:spMkLst>
        </pc:spChg>
        <pc:picChg chg="add mod">
          <ac:chgData name="Sathe, Anshul S SBOBNG-PTIV/RA" userId="dab23bb9-036c-4bec-b836-4f0af9c9f5f1" providerId="ADAL" clId="{AA969FED-D8E6-43EC-BAD5-53753D7F8DB8}" dt="2024-09-03T03:41:37.639" v="575" actId="1076"/>
          <ac:picMkLst>
            <pc:docMk/>
            <pc:sldMk cId="3233747587" sldId="2147375601"/>
            <ac:picMk id="5" creationId="{112CF655-456F-8EEC-2FAC-EBE96BFD6C7B}"/>
          </ac:picMkLst>
        </pc:picChg>
      </pc:sldChg>
      <pc:sldChg chg="addSp delSp modSp mod">
        <pc:chgData name="Sathe, Anshul S SBOBNG-PTIV/RA" userId="dab23bb9-036c-4bec-b836-4f0af9c9f5f1" providerId="ADAL" clId="{AA969FED-D8E6-43EC-BAD5-53753D7F8DB8}" dt="2024-09-03T03:47:35.592" v="992" actId="1076"/>
        <pc:sldMkLst>
          <pc:docMk/>
          <pc:sldMk cId="3971512377" sldId="2147375603"/>
        </pc:sldMkLst>
        <pc:spChg chg="add">
          <ac:chgData name="Sathe, Anshul S SBOBNG-PTIV/RA" userId="dab23bb9-036c-4bec-b836-4f0af9c9f5f1" providerId="ADAL" clId="{AA969FED-D8E6-43EC-BAD5-53753D7F8DB8}" dt="2024-09-03T03:43:15.665" v="578"/>
          <ac:spMkLst>
            <pc:docMk/>
            <pc:sldMk cId="3971512377" sldId="2147375603"/>
            <ac:spMk id="2" creationId="{3B0D26DE-2076-E202-3E0D-513C0B6CEF02}"/>
          </ac:spMkLst>
        </pc:spChg>
        <pc:spChg chg="add">
          <ac:chgData name="Sathe, Anshul S SBOBNG-PTIV/RA" userId="dab23bb9-036c-4bec-b836-4f0af9c9f5f1" providerId="ADAL" clId="{AA969FED-D8E6-43EC-BAD5-53753D7F8DB8}" dt="2024-09-03T03:43:18.576" v="579"/>
          <ac:spMkLst>
            <pc:docMk/>
            <pc:sldMk cId="3971512377" sldId="2147375603"/>
            <ac:spMk id="6" creationId="{5415EA9D-5DA7-9DB0-B657-90608D1D0BF4}"/>
          </ac:spMkLst>
        </pc:spChg>
        <pc:spChg chg="add">
          <ac:chgData name="Sathe, Anshul S SBOBNG-PTIV/RA" userId="dab23bb9-036c-4bec-b836-4f0af9c9f5f1" providerId="ADAL" clId="{AA969FED-D8E6-43EC-BAD5-53753D7F8DB8}" dt="2024-09-03T03:43:21.975" v="583"/>
          <ac:spMkLst>
            <pc:docMk/>
            <pc:sldMk cId="3971512377" sldId="2147375603"/>
            <ac:spMk id="8" creationId="{3CED5693-86C1-F13C-0C1D-8E2344C96E4A}"/>
          </ac:spMkLst>
        </pc:spChg>
        <pc:spChg chg="add del mod">
          <ac:chgData name="Sathe, Anshul S SBOBNG-PTIV/RA" userId="dab23bb9-036c-4bec-b836-4f0af9c9f5f1" providerId="ADAL" clId="{AA969FED-D8E6-43EC-BAD5-53753D7F8DB8}" dt="2024-09-03T03:47:03.800" v="985"/>
          <ac:spMkLst>
            <pc:docMk/>
            <pc:sldMk cId="3971512377" sldId="2147375603"/>
            <ac:spMk id="9" creationId="{0D69E939-8B28-AA39-83CE-64660F0BBCA2}"/>
          </ac:spMkLst>
        </pc:spChg>
        <pc:spChg chg="mod">
          <ac:chgData name="Sathe, Anshul S SBOBNG-PTIV/RA" userId="dab23bb9-036c-4bec-b836-4f0af9c9f5f1" providerId="ADAL" clId="{AA969FED-D8E6-43EC-BAD5-53753D7F8DB8}" dt="2024-09-03T03:45:34.389" v="977" actId="20577"/>
          <ac:spMkLst>
            <pc:docMk/>
            <pc:sldMk cId="3971512377" sldId="2147375603"/>
            <ac:spMk id="11" creationId="{DE9F1BE0-7910-FA1B-DCE8-56EFD1E4FC09}"/>
          </ac:spMkLst>
        </pc:spChg>
        <pc:spChg chg="mod">
          <ac:chgData name="Sathe, Anshul S SBOBNG-PTIV/RA" userId="dab23bb9-036c-4bec-b836-4f0af9c9f5f1" providerId="ADAL" clId="{AA969FED-D8E6-43EC-BAD5-53753D7F8DB8}" dt="2024-09-03T03:46:59.309" v="981" actId="962"/>
          <ac:spMkLst>
            <pc:docMk/>
            <pc:sldMk cId="3971512377" sldId="2147375603"/>
            <ac:spMk id="12" creationId="{E53E5C3F-4D2B-B85F-E592-E58E032C664C}"/>
          </ac:spMkLst>
        </pc:spChg>
        <pc:spChg chg="add">
          <ac:chgData name="Sathe, Anshul S SBOBNG-PTIV/RA" userId="dab23bb9-036c-4bec-b836-4f0af9c9f5f1" providerId="ADAL" clId="{AA969FED-D8E6-43EC-BAD5-53753D7F8DB8}" dt="2024-09-03T03:44:07.040" v="593"/>
          <ac:spMkLst>
            <pc:docMk/>
            <pc:sldMk cId="3971512377" sldId="2147375603"/>
            <ac:spMk id="13" creationId="{8DAD70EF-6D39-D324-2042-3FA4976FBC9B}"/>
          </ac:spMkLst>
        </pc:spChg>
        <pc:picChg chg="add mod">
          <ac:chgData name="Sathe, Anshul S SBOBNG-PTIV/RA" userId="dab23bb9-036c-4bec-b836-4f0af9c9f5f1" providerId="ADAL" clId="{AA969FED-D8E6-43EC-BAD5-53753D7F8DB8}" dt="2024-09-03T03:47:35.592" v="992" actId="1076"/>
          <ac:picMkLst>
            <pc:docMk/>
            <pc:sldMk cId="3971512377" sldId="2147375603"/>
            <ac:picMk id="15" creationId="{1A6AFAB0-E730-E70B-9E3E-6EACA7062E83}"/>
          </ac:picMkLst>
        </pc:picChg>
      </pc:sldChg>
      <pc:sldChg chg="addSp modSp mod">
        <pc:chgData name="Sathe, Anshul S SBOBNG-PTIV/RA" userId="dab23bb9-036c-4bec-b836-4f0af9c9f5f1" providerId="ADAL" clId="{AA969FED-D8E6-43EC-BAD5-53753D7F8DB8}" dt="2024-09-03T03:55:23.130" v="1528" actId="1076"/>
        <pc:sldMkLst>
          <pc:docMk/>
          <pc:sldMk cId="3179805674" sldId="2147375604"/>
        </pc:sldMkLst>
        <pc:spChg chg="add">
          <ac:chgData name="Sathe, Anshul S SBOBNG-PTIV/RA" userId="dab23bb9-036c-4bec-b836-4f0af9c9f5f1" providerId="ADAL" clId="{AA969FED-D8E6-43EC-BAD5-53753D7F8DB8}" dt="2024-09-03T03:50:52.372" v="1209"/>
          <ac:spMkLst>
            <pc:docMk/>
            <pc:sldMk cId="3179805674" sldId="2147375604"/>
            <ac:spMk id="2" creationId="{C57C1432-5973-1405-AABF-5477B7B9A36B}"/>
          </ac:spMkLst>
        </pc:spChg>
        <pc:spChg chg="add mod">
          <ac:chgData name="Sathe, Anshul S SBOBNG-PTIV/RA" userId="dab23bb9-036c-4bec-b836-4f0af9c9f5f1" providerId="ADAL" clId="{AA969FED-D8E6-43EC-BAD5-53753D7F8DB8}" dt="2024-09-03T03:51:33.196" v="1217" actId="1076"/>
          <ac:spMkLst>
            <pc:docMk/>
            <pc:sldMk cId="3179805674" sldId="2147375604"/>
            <ac:spMk id="6" creationId="{0A351800-C756-8B0C-5F74-6C126AEE92F2}"/>
          </ac:spMkLst>
        </pc:spChg>
        <pc:spChg chg="add">
          <ac:chgData name="Sathe, Anshul S SBOBNG-PTIV/RA" userId="dab23bb9-036c-4bec-b836-4f0af9c9f5f1" providerId="ADAL" clId="{AA969FED-D8E6-43EC-BAD5-53753D7F8DB8}" dt="2024-09-03T03:51:09.893" v="1212"/>
          <ac:spMkLst>
            <pc:docMk/>
            <pc:sldMk cId="3179805674" sldId="2147375604"/>
            <ac:spMk id="8" creationId="{95D6BC0F-E77A-E57A-CBC0-1F4EC0B12034}"/>
          </ac:spMkLst>
        </pc:spChg>
        <pc:spChg chg="mod">
          <ac:chgData name="Sathe, Anshul S SBOBNG-PTIV/RA" userId="dab23bb9-036c-4bec-b836-4f0af9c9f5f1" providerId="ADAL" clId="{AA969FED-D8E6-43EC-BAD5-53753D7F8DB8}" dt="2024-09-03T03:50:54.439" v="1210" actId="20577"/>
          <ac:spMkLst>
            <pc:docMk/>
            <pc:sldMk cId="3179805674" sldId="2147375604"/>
            <ac:spMk id="11" creationId="{DE9F1BE0-7910-FA1B-DCE8-56EFD1E4FC09}"/>
          </ac:spMkLst>
        </pc:spChg>
        <pc:spChg chg="mod">
          <ac:chgData name="Sathe, Anshul S SBOBNG-PTIV/RA" userId="dab23bb9-036c-4bec-b836-4f0af9c9f5f1" providerId="ADAL" clId="{AA969FED-D8E6-43EC-BAD5-53753D7F8DB8}" dt="2024-09-03T03:51:35.575" v="1218" actId="6549"/>
          <ac:spMkLst>
            <pc:docMk/>
            <pc:sldMk cId="3179805674" sldId="2147375604"/>
            <ac:spMk id="12" creationId="{E53E5C3F-4D2B-B85F-E592-E58E032C664C}"/>
          </ac:spMkLst>
        </pc:spChg>
        <pc:picChg chg="add mod">
          <ac:chgData name="Sathe, Anshul S SBOBNG-PTIV/RA" userId="dab23bb9-036c-4bec-b836-4f0af9c9f5f1" providerId="ADAL" clId="{AA969FED-D8E6-43EC-BAD5-53753D7F8DB8}" dt="2024-09-03T03:55:23.130" v="1528" actId="1076"/>
          <ac:picMkLst>
            <pc:docMk/>
            <pc:sldMk cId="3179805674" sldId="2147375604"/>
            <ac:picMk id="9" creationId="{4A557F56-A0BB-D953-95BA-8E96BA6D07E9}"/>
          </ac:picMkLst>
        </pc:picChg>
      </pc:sldChg>
      <pc:sldChg chg="addSp delSp modSp mod">
        <pc:chgData name="Sathe, Anshul S SBOBNG-PTIV/RA" userId="dab23bb9-036c-4bec-b836-4f0af9c9f5f1" providerId="ADAL" clId="{AA969FED-D8E6-43EC-BAD5-53753D7F8DB8}" dt="2024-09-03T04:02:04.170" v="1971" actId="1076"/>
        <pc:sldMkLst>
          <pc:docMk/>
          <pc:sldMk cId="86366928" sldId="2147375605"/>
        </pc:sldMkLst>
        <pc:spChg chg="add del mod">
          <ac:chgData name="Sathe, Anshul S SBOBNG-PTIV/RA" userId="dab23bb9-036c-4bec-b836-4f0af9c9f5f1" providerId="ADAL" clId="{AA969FED-D8E6-43EC-BAD5-53753D7F8DB8}" dt="2024-09-03T03:55:54.420" v="1532"/>
          <ac:spMkLst>
            <pc:docMk/>
            <pc:sldMk cId="86366928" sldId="2147375605"/>
            <ac:spMk id="8" creationId="{DB262134-62D0-09F7-B345-BFB2F7DFE171}"/>
          </ac:spMkLst>
        </pc:spChg>
        <pc:spChg chg="add">
          <ac:chgData name="Sathe, Anshul S SBOBNG-PTIV/RA" userId="dab23bb9-036c-4bec-b836-4f0af9c9f5f1" providerId="ADAL" clId="{AA969FED-D8E6-43EC-BAD5-53753D7F8DB8}" dt="2024-09-03T03:57:23.448" v="1533"/>
          <ac:spMkLst>
            <pc:docMk/>
            <pc:sldMk cId="86366928" sldId="2147375605"/>
            <ac:spMk id="9" creationId="{F1F633C8-5BA7-8165-576A-3CB862EE6982}"/>
          </ac:spMkLst>
        </pc:spChg>
        <pc:spChg chg="mod">
          <ac:chgData name="Sathe, Anshul S SBOBNG-PTIV/RA" userId="dab23bb9-036c-4bec-b836-4f0af9c9f5f1" providerId="ADAL" clId="{AA969FED-D8E6-43EC-BAD5-53753D7F8DB8}" dt="2024-09-03T03:57:30.449" v="1536" actId="403"/>
          <ac:spMkLst>
            <pc:docMk/>
            <pc:sldMk cId="86366928" sldId="2147375605"/>
            <ac:spMk id="11" creationId="{DE9F1BE0-7910-FA1B-DCE8-56EFD1E4FC09}"/>
          </ac:spMkLst>
        </pc:spChg>
        <pc:spChg chg="mod">
          <ac:chgData name="Sathe, Anshul S SBOBNG-PTIV/RA" userId="dab23bb9-036c-4bec-b836-4f0af9c9f5f1" providerId="ADAL" clId="{AA969FED-D8E6-43EC-BAD5-53753D7F8DB8}" dt="2024-09-03T03:54:44.934" v="1518" actId="1076"/>
          <ac:spMkLst>
            <pc:docMk/>
            <pc:sldMk cId="86366928" sldId="2147375605"/>
            <ac:spMk id="12" creationId="{E53E5C3F-4D2B-B85F-E592-E58E032C664C}"/>
          </ac:spMkLst>
        </pc:spChg>
        <pc:picChg chg="add del mod">
          <ac:chgData name="Sathe, Anshul S SBOBNG-PTIV/RA" userId="dab23bb9-036c-4bec-b836-4f0af9c9f5f1" providerId="ADAL" clId="{AA969FED-D8E6-43EC-BAD5-53753D7F8DB8}" dt="2024-09-03T03:55:08.394" v="1522" actId="21"/>
          <ac:picMkLst>
            <pc:docMk/>
            <pc:sldMk cId="86366928" sldId="2147375605"/>
            <ac:picMk id="6" creationId="{4A557F56-A0BB-D953-95BA-8E96BA6D07E9}"/>
          </ac:picMkLst>
        </pc:picChg>
        <pc:picChg chg="add mod">
          <ac:chgData name="Sathe, Anshul S SBOBNG-PTIV/RA" userId="dab23bb9-036c-4bec-b836-4f0af9c9f5f1" providerId="ADAL" clId="{AA969FED-D8E6-43EC-BAD5-53753D7F8DB8}" dt="2024-09-03T04:02:04.170" v="1971" actId="1076"/>
          <ac:picMkLst>
            <pc:docMk/>
            <pc:sldMk cId="86366928" sldId="2147375605"/>
            <ac:picMk id="14" creationId="{FCABA703-642E-E16E-7F04-E64C8A9AD85E}"/>
          </ac:picMkLst>
        </pc:picChg>
      </pc:sldChg>
      <pc:sldChg chg="addSp delSp modSp mod">
        <pc:chgData name="Sathe, Anshul S SBOBNG-PTIV/RA" userId="dab23bb9-036c-4bec-b836-4f0af9c9f5f1" providerId="ADAL" clId="{AA969FED-D8E6-43EC-BAD5-53753D7F8DB8}" dt="2024-09-03T04:03:51.144" v="1983" actId="1076"/>
        <pc:sldMkLst>
          <pc:docMk/>
          <pc:sldMk cId="2340944189" sldId="2147375607"/>
        </pc:sldMkLst>
        <pc:spChg chg="mod">
          <ac:chgData name="Sathe, Anshul S SBOBNG-PTIV/RA" userId="dab23bb9-036c-4bec-b836-4f0af9c9f5f1" providerId="ADAL" clId="{AA969FED-D8E6-43EC-BAD5-53753D7F8DB8}" dt="2024-09-03T03:53:05.374" v="1445" actId="20577"/>
          <ac:spMkLst>
            <pc:docMk/>
            <pc:sldMk cId="2340944189" sldId="2147375607"/>
            <ac:spMk id="11" creationId="{DE9F1BE0-7910-FA1B-DCE8-56EFD1E4FC09}"/>
          </ac:spMkLst>
        </pc:spChg>
        <pc:spChg chg="mod">
          <ac:chgData name="Sathe, Anshul S SBOBNG-PTIV/RA" userId="dab23bb9-036c-4bec-b836-4f0af9c9f5f1" providerId="ADAL" clId="{AA969FED-D8E6-43EC-BAD5-53753D7F8DB8}" dt="2024-09-03T04:03:34.291" v="1975" actId="6549"/>
          <ac:spMkLst>
            <pc:docMk/>
            <pc:sldMk cId="2340944189" sldId="2147375607"/>
            <ac:spMk id="12" creationId="{E53E5C3F-4D2B-B85F-E592-E58E032C664C}"/>
          </ac:spMkLst>
        </pc:spChg>
        <pc:picChg chg="add del mod">
          <ac:chgData name="Sathe, Anshul S SBOBNG-PTIV/RA" userId="dab23bb9-036c-4bec-b836-4f0af9c9f5f1" providerId="ADAL" clId="{AA969FED-D8E6-43EC-BAD5-53753D7F8DB8}" dt="2024-09-03T04:03:05.042" v="1973" actId="478"/>
          <ac:picMkLst>
            <pc:docMk/>
            <pc:sldMk cId="2340944189" sldId="2147375607"/>
            <ac:picMk id="6" creationId="{5B63EC10-41AC-562F-114C-43B8D69B16D0}"/>
          </ac:picMkLst>
        </pc:picChg>
        <pc:picChg chg="add mod modCrop">
          <ac:chgData name="Sathe, Anshul S SBOBNG-PTIV/RA" userId="dab23bb9-036c-4bec-b836-4f0af9c9f5f1" providerId="ADAL" clId="{AA969FED-D8E6-43EC-BAD5-53753D7F8DB8}" dt="2024-09-03T04:03:51.144" v="1983" actId="1076"/>
          <ac:picMkLst>
            <pc:docMk/>
            <pc:sldMk cId="2340944189" sldId="2147375607"/>
            <ac:picMk id="9" creationId="{0FB36D52-6C30-E8C0-9414-3B2712B20B92}"/>
          </ac:picMkLst>
        </pc:picChg>
      </pc:sldChg>
      <pc:sldChg chg="addSp modSp mod">
        <pc:chgData name="Sathe, Anshul S SBOBNG-PTIV/RA" userId="dab23bb9-036c-4bec-b836-4f0af9c9f5f1" providerId="ADAL" clId="{AA969FED-D8E6-43EC-BAD5-53753D7F8DB8}" dt="2024-09-03T04:04:33.657" v="1989" actId="1076"/>
        <pc:sldMkLst>
          <pc:docMk/>
          <pc:sldMk cId="3159148252" sldId="2147375608"/>
        </pc:sldMkLst>
        <pc:spChg chg="mod">
          <ac:chgData name="Sathe, Anshul S SBOBNG-PTIV/RA" userId="dab23bb9-036c-4bec-b836-4f0af9c9f5f1" providerId="ADAL" clId="{AA969FED-D8E6-43EC-BAD5-53753D7F8DB8}" dt="2024-09-03T03:52:29.713" v="1329" actId="5793"/>
          <ac:spMkLst>
            <pc:docMk/>
            <pc:sldMk cId="3159148252" sldId="2147375608"/>
            <ac:spMk id="11" creationId="{DE9F1BE0-7910-FA1B-DCE8-56EFD1E4FC09}"/>
          </ac:spMkLst>
        </pc:spChg>
        <pc:spChg chg="mod">
          <ac:chgData name="Sathe, Anshul S SBOBNG-PTIV/RA" userId="dab23bb9-036c-4bec-b836-4f0af9c9f5f1" providerId="ADAL" clId="{AA969FED-D8E6-43EC-BAD5-53753D7F8DB8}" dt="2024-09-03T04:03:59.007" v="1984" actId="6549"/>
          <ac:spMkLst>
            <pc:docMk/>
            <pc:sldMk cId="3159148252" sldId="2147375608"/>
            <ac:spMk id="12" creationId="{E53E5C3F-4D2B-B85F-E592-E58E032C664C}"/>
          </ac:spMkLst>
        </pc:spChg>
        <pc:picChg chg="add mod">
          <ac:chgData name="Sathe, Anshul S SBOBNG-PTIV/RA" userId="dab23bb9-036c-4bec-b836-4f0af9c9f5f1" providerId="ADAL" clId="{AA969FED-D8E6-43EC-BAD5-53753D7F8DB8}" dt="2024-09-03T04:04:33.657" v="1989" actId="1076"/>
          <ac:picMkLst>
            <pc:docMk/>
            <pc:sldMk cId="3159148252" sldId="2147375608"/>
            <ac:picMk id="6" creationId="{EDF93031-9526-9BDB-E635-024C24C45AB2}"/>
          </ac:picMkLst>
        </pc:picChg>
      </pc:sldChg>
      <pc:sldChg chg="addSp modSp mod">
        <pc:chgData name="Sathe, Anshul S SBOBNG-PTIV/RA" userId="dab23bb9-036c-4bec-b836-4f0af9c9f5f1" providerId="ADAL" clId="{AA969FED-D8E6-43EC-BAD5-53753D7F8DB8}" dt="2024-09-03T04:05:17.042" v="1995" actId="1076"/>
        <pc:sldMkLst>
          <pc:docMk/>
          <pc:sldMk cId="3070204084" sldId="2147375609"/>
        </pc:sldMkLst>
        <pc:spChg chg="mod">
          <ac:chgData name="Sathe, Anshul S SBOBNG-PTIV/RA" userId="dab23bb9-036c-4bec-b836-4f0af9c9f5f1" providerId="ADAL" clId="{AA969FED-D8E6-43EC-BAD5-53753D7F8DB8}" dt="2024-09-03T03:53:36.441" v="1510" actId="20577"/>
          <ac:spMkLst>
            <pc:docMk/>
            <pc:sldMk cId="3070204084" sldId="2147375609"/>
            <ac:spMk id="11" creationId="{DE9F1BE0-7910-FA1B-DCE8-56EFD1E4FC09}"/>
          </ac:spMkLst>
        </pc:spChg>
        <pc:spChg chg="mod">
          <ac:chgData name="Sathe, Anshul S SBOBNG-PTIV/RA" userId="dab23bb9-036c-4bec-b836-4f0af9c9f5f1" providerId="ADAL" clId="{AA969FED-D8E6-43EC-BAD5-53753D7F8DB8}" dt="2024-09-03T04:04:46.051" v="1990" actId="6549"/>
          <ac:spMkLst>
            <pc:docMk/>
            <pc:sldMk cId="3070204084" sldId="2147375609"/>
            <ac:spMk id="12" creationId="{E53E5C3F-4D2B-B85F-E592-E58E032C664C}"/>
          </ac:spMkLst>
        </pc:spChg>
        <pc:picChg chg="add mod">
          <ac:chgData name="Sathe, Anshul S SBOBNG-PTIV/RA" userId="dab23bb9-036c-4bec-b836-4f0af9c9f5f1" providerId="ADAL" clId="{AA969FED-D8E6-43EC-BAD5-53753D7F8DB8}" dt="2024-09-03T04:05:17.042" v="1995" actId="1076"/>
          <ac:picMkLst>
            <pc:docMk/>
            <pc:sldMk cId="3070204084" sldId="2147375609"/>
            <ac:picMk id="6" creationId="{43A50472-3685-079A-F664-805D04C66125}"/>
          </ac:picMkLst>
        </pc:picChg>
      </pc:sldChg>
      <pc:sldChg chg="modSp mod">
        <pc:chgData name="Sathe, Anshul S SBOBNG-PTIV/RA" userId="dab23bb9-036c-4bec-b836-4f0af9c9f5f1" providerId="ADAL" clId="{AA969FED-D8E6-43EC-BAD5-53753D7F8DB8}" dt="2024-09-03T03:49:49.906" v="1206" actId="20577"/>
        <pc:sldMkLst>
          <pc:docMk/>
          <pc:sldMk cId="3754613224" sldId="2147375611"/>
        </pc:sldMkLst>
        <pc:spChg chg="mod">
          <ac:chgData name="Sathe, Anshul S SBOBNG-PTIV/RA" userId="dab23bb9-036c-4bec-b836-4f0af9c9f5f1" providerId="ADAL" clId="{AA969FED-D8E6-43EC-BAD5-53753D7F8DB8}" dt="2024-09-03T03:49:10.022" v="1065" actId="20577"/>
          <ac:spMkLst>
            <pc:docMk/>
            <pc:sldMk cId="3754613224" sldId="2147375611"/>
            <ac:spMk id="18" creationId="{6C73795A-BE20-7075-E9C6-6F145CE60794}"/>
          </ac:spMkLst>
        </pc:spChg>
        <pc:spChg chg="mod">
          <ac:chgData name="Sathe, Anshul S SBOBNG-PTIV/RA" userId="dab23bb9-036c-4bec-b836-4f0af9c9f5f1" providerId="ADAL" clId="{AA969FED-D8E6-43EC-BAD5-53753D7F8DB8}" dt="2024-09-03T03:49:44.811" v="1191" actId="20577"/>
          <ac:spMkLst>
            <pc:docMk/>
            <pc:sldMk cId="3754613224" sldId="2147375611"/>
            <ac:spMk id="19" creationId="{A3E2F4D1-4417-E244-3DB9-A6FF5866A342}"/>
          </ac:spMkLst>
        </pc:spChg>
        <pc:spChg chg="mod">
          <ac:chgData name="Sathe, Anshul S SBOBNG-PTIV/RA" userId="dab23bb9-036c-4bec-b836-4f0af9c9f5f1" providerId="ADAL" clId="{AA969FED-D8E6-43EC-BAD5-53753D7F8DB8}" dt="2024-09-03T03:49:49.906" v="1206" actId="20577"/>
          <ac:spMkLst>
            <pc:docMk/>
            <pc:sldMk cId="3754613224" sldId="2147375611"/>
            <ac:spMk id="20" creationId="{3EBEB0AC-D407-44FD-A74F-90F67F3D13C3}"/>
          </ac:spMkLst>
        </pc:spChg>
      </pc:sldChg>
      <pc:sldChg chg="addSp modSp mod">
        <pc:chgData name="Sathe, Anshul S SBOBNG-PTIV/RA" userId="dab23bb9-036c-4bec-b836-4f0af9c9f5f1" providerId="ADAL" clId="{AA969FED-D8E6-43EC-BAD5-53753D7F8DB8}" dt="2024-09-03T04:01:18.872" v="1966" actId="1076"/>
        <pc:sldMkLst>
          <pc:docMk/>
          <pc:sldMk cId="1148838763" sldId="2147375613"/>
        </pc:sldMkLst>
        <pc:spChg chg="mod">
          <ac:chgData name="Sathe, Anshul S SBOBNG-PTIV/RA" userId="dab23bb9-036c-4bec-b836-4f0af9c9f5f1" providerId="ADAL" clId="{AA969FED-D8E6-43EC-BAD5-53753D7F8DB8}" dt="2024-09-03T03:59:19.864" v="1958" actId="403"/>
          <ac:spMkLst>
            <pc:docMk/>
            <pc:sldMk cId="1148838763" sldId="2147375613"/>
            <ac:spMk id="11" creationId="{8CC1343B-2E39-FEFF-8FF6-46822F18B432}"/>
          </ac:spMkLst>
        </pc:spChg>
        <pc:spChg chg="mod">
          <ac:chgData name="Sathe, Anshul S SBOBNG-PTIV/RA" userId="dab23bb9-036c-4bec-b836-4f0af9c9f5f1" providerId="ADAL" clId="{AA969FED-D8E6-43EC-BAD5-53753D7F8DB8}" dt="2024-09-03T03:59:24.223" v="1959" actId="20577"/>
          <ac:spMkLst>
            <pc:docMk/>
            <pc:sldMk cId="1148838763" sldId="2147375613"/>
            <ac:spMk id="12" creationId="{5A873A1A-E63F-91AE-7D43-ED0F86870147}"/>
          </ac:spMkLst>
        </pc:spChg>
        <pc:picChg chg="add mod">
          <ac:chgData name="Sathe, Anshul S SBOBNG-PTIV/RA" userId="dab23bb9-036c-4bec-b836-4f0af9c9f5f1" providerId="ADAL" clId="{AA969FED-D8E6-43EC-BAD5-53753D7F8DB8}" dt="2024-09-03T04:01:18.872" v="1966" actId="1076"/>
          <ac:picMkLst>
            <pc:docMk/>
            <pc:sldMk cId="1148838763" sldId="2147375613"/>
            <ac:picMk id="6" creationId="{FA1725BE-8529-2DE6-425D-CCAAE261EF0B}"/>
          </ac:picMkLst>
        </pc:picChg>
      </pc:sldChg>
      <pc:sldChg chg="modSp mod">
        <pc:chgData name="Sathe, Anshul S SBOBNG-PTIV/RA" userId="dab23bb9-036c-4bec-b836-4f0af9c9f5f1" providerId="ADAL" clId="{AA969FED-D8E6-43EC-BAD5-53753D7F8DB8}" dt="2024-09-03T04:09:03.357" v="2399" actId="5793"/>
        <pc:sldMkLst>
          <pc:docMk/>
          <pc:sldMk cId="3865850111" sldId="2147375614"/>
        </pc:sldMkLst>
        <pc:spChg chg="mod">
          <ac:chgData name="Sathe, Anshul S SBOBNG-PTIV/RA" userId="dab23bb9-036c-4bec-b836-4f0af9c9f5f1" providerId="ADAL" clId="{AA969FED-D8E6-43EC-BAD5-53753D7F8DB8}" dt="2024-09-03T04:09:03.357" v="2399" actId="5793"/>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3/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3/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shul Sathe</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dirty="0"/>
              <a:t>Scrum is an agile framework for managing complex projects. It involves iterative development, with work divided into sprints (typically 2-4 weeks). Key roles include the Product Owner, Scrum Master, and Development Team. Daily stand-ups, sprint planning, reviews, and retrospectives ensure continuous improvement and adaptability.</a:t>
            </a: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4" name="Picture 13" descr="A diagram of a scrum&#10;&#10;Description automatically generated">
            <a:extLst>
              <a:ext uri="{FF2B5EF4-FFF2-40B4-BE49-F238E27FC236}">
                <a16:creationId xmlns:a16="http://schemas.microsoft.com/office/drawing/2014/main" id="{FCABA703-642E-E16E-7F04-E64C8A9AD8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27241" y="2032213"/>
            <a:ext cx="3733799" cy="3733799"/>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problem so far. Implemented importance of soft-skills, personality traits and etiquettes in role play during clas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cartoon frog wearing sunglasses and a hand gesture&#10;&#10;Description automatically generated">
            <a:extLst>
              <a:ext uri="{FF2B5EF4-FFF2-40B4-BE49-F238E27FC236}">
                <a16:creationId xmlns:a16="http://schemas.microsoft.com/office/drawing/2014/main" id="{0FB36D52-6C30-E8C0-9414-3B2712B20B92}"/>
              </a:ext>
            </a:extLst>
          </p:cNvPr>
          <p:cNvPicPr>
            <a:picLocks noChangeAspect="1"/>
          </p:cNvPicPr>
          <p:nvPr/>
        </p:nvPicPr>
        <p:blipFill>
          <a:blip r:embed="rId7">
            <a:extLst>
              <a:ext uri="{28A0092B-C50C-407E-A947-70E740481C1C}">
                <a14:useLocalDpi xmlns:a14="http://schemas.microsoft.com/office/drawing/2010/main" val="0"/>
              </a:ext>
            </a:extLst>
          </a:blip>
          <a:srcRect t="15753" b="17867"/>
          <a:stretch/>
        </p:blipFill>
        <p:spPr>
          <a:xfrm>
            <a:off x="6799692" y="2387982"/>
            <a:ext cx="4552920" cy="302226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problem so far. Implemented mock play of business analyst in a project successful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yellow emoji giving thumbs up&#10;&#10;Description automatically generated">
            <a:extLst>
              <a:ext uri="{FF2B5EF4-FFF2-40B4-BE49-F238E27FC236}">
                <a16:creationId xmlns:a16="http://schemas.microsoft.com/office/drawing/2014/main" id="{EDF93031-9526-9BDB-E635-024C24C45A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9889" y="2455618"/>
            <a:ext cx="4786630" cy="288699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prints and scrum tasks implemented successful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hugging&#10;&#10;Description automatically generated">
            <a:extLst>
              <a:ext uri="{FF2B5EF4-FFF2-40B4-BE49-F238E27FC236}">
                <a16:creationId xmlns:a16="http://schemas.microsoft.com/office/drawing/2014/main" id="{43A50472-3685-079A-F664-805D04C6612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2188" y="2232839"/>
            <a:ext cx="5007928" cy="3332548"/>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 these skill in practically in real lif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orking on personality and soft skills in the first 3 days of the week,</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udy technicalities in the next 2 day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oals achiev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dirty="0"/>
              <a:t>The use of different class activities made this a very interactive and fun learning experience in both technical and soft-skills sessions. I have learned a lot from what my facilitators have taught me, and I am very sure that I will be able to implement this in my practical workday and this will help me in my personal and professional career as well.</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ollage of images of a person and a child&#10;&#10;Description automatically generated">
            <a:extLst>
              <a:ext uri="{FF2B5EF4-FFF2-40B4-BE49-F238E27FC236}">
                <a16:creationId xmlns:a16="http://schemas.microsoft.com/office/drawing/2014/main" id="{FA1725BE-8529-2DE6-425D-CCAAE261EF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96043" y="2761883"/>
            <a:ext cx="4960219" cy="248011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We learned the importance of personality development and practicing proper etiquettes.</a:t>
            </a:r>
          </a:p>
          <a:p>
            <a:pPr>
              <a:lnSpc>
                <a:spcPct val="100000"/>
              </a:lnSpc>
            </a:pPr>
            <a:r>
              <a:rPr lang="en-US" sz="2400" dirty="0"/>
              <a:t>Importance of team-work, good leadership qualities and collaboration was taught</a:t>
            </a:r>
            <a:r>
              <a:rPr lang="en-US" sz="2000" dirty="0"/>
              <a:t>.</a:t>
            </a:r>
          </a:p>
          <a:p>
            <a:pPr>
              <a:lnSpc>
                <a:spcPct val="100000"/>
              </a:lnSpc>
            </a:pPr>
            <a:r>
              <a:rPr lang="en-US" sz="2400" dirty="0"/>
              <a:t>Importance of Business analyst was also emphasized.</a:t>
            </a:r>
          </a:p>
          <a:p>
            <a:pPr>
              <a:lnSpc>
                <a:spcPct val="100000"/>
              </a:lnSpc>
            </a:pPr>
            <a:r>
              <a:rPr lang="en-US" sz="2400" dirty="0"/>
              <a:t>The next week consists of Dev-Ops and </a:t>
            </a:r>
            <a:r>
              <a:rPr lang="en-US" sz="2400"/>
              <a:t>Scrum practicality.</a:t>
            </a:r>
          </a:p>
          <a:p>
            <a:pPr marL="0" indent="0">
              <a:lnSpc>
                <a:spcPct val="100000"/>
              </a:lnSpc>
              <a:buNone/>
            </a:pPr>
            <a:endParaRPr lang="en-US" sz="24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re’s no job too immense when you got confidence.”</a:t>
            </a:r>
          </a:p>
          <a:p>
            <a:pPr marL="0" indent="0" algn="ctr">
              <a:buFont typeface="Arial" panose="020B0604020202020204" pitchFamily="34" charset="0"/>
              <a:buNone/>
            </a:pPr>
            <a:r>
              <a:rPr lang="en-US" sz="2000" dirty="0"/>
              <a:t>		- Elvis Presley</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artoon frog with a sad face&#10;&#10;Description automatically generated">
            <a:extLst>
              <a:ext uri="{FF2B5EF4-FFF2-40B4-BE49-F238E27FC236}">
                <a16:creationId xmlns:a16="http://schemas.microsoft.com/office/drawing/2014/main" id="{D45259FB-BC34-6093-4773-083962D483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9454" y="1953159"/>
            <a:ext cx="3833397" cy="3833397"/>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Personality Traits</a:t>
            </a:r>
          </a:p>
          <a:p>
            <a:r>
              <a:rPr lang="en-US" sz="2400" dirty="0"/>
              <a:t>Etiquettes </a:t>
            </a:r>
          </a:p>
          <a:p>
            <a:r>
              <a:rPr lang="en-US" sz="2400" dirty="0"/>
              <a:t>Stakeholder Management</a:t>
            </a:r>
          </a:p>
          <a:p>
            <a:r>
              <a:rPr lang="en-US" sz="2400" dirty="0"/>
              <a:t>Trust</a:t>
            </a:r>
          </a:p>
          <a:p>
            <a:r>
              <a:rPr lang="en-US" sz="2400" dirty="0"/>
              <a:t>Problem Solving and teamwork</a:t>
            </a:r>
          </a:p>
          <a:p>
            <a:r>
              <a:rPr lang="en-US" sz="2400" dirty="0"/>
              <a:t>Effective Presentation techniques </a:t>
            </a:r>
          </a:p>
          <a:p>
            <a:pPr marL="0" indent="0">
              <a:buNone/>
            </a:pP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soft skills&#10;&#10;Description automatically generated">
            <a:extLst>
              <a:ext uri="{FF2B5EF4-FFF2-40B4-BE49-F238E27FC236}">
                <a16:creationId xmlns:a16="http://schemas.microsoft.com/office/drawing/2014/main" id="{39F0D796-6B8A-A929-CE46-D05C0BCC26E7}"/>
              </a:ext>
            </a:extLst>
          </p:cNvPr>
          <p:cNvPicPr>
            <a:picLocks noChangeAspect="1"/>
          </p:cNvPicPr>
          <p:nvPr/>
        </p:nvPicPr>
        <p:blipFill>
          <a:blip r:embed="rId7">
            <a:extLst>
              <a:ext uri="{28A0092B-C50C-407E-A947-70E740481C1C}">
                <a14:useLocalDpi xmlns:a14="http://schemas.microsoft.com/office/drawing/2010/main" val="0"/>
              </a:ext>
            </a:extLst>
          </a:blip>
          <a:srcRect b="7717"/>
          <a:stretch/>
        </p:blipFill>
        <p:spPr>
          <a:xfrm>
            <a:off x="7006766" y="1993444"/>
            <a:ext cx="4138771" cy="381133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Importance of Business Analyst</a:t>
            </a:r>
          </a:p>
          <a:p>
            <a:r>
              <a:rPr lang="en-US" sz="2400" dirty="0"/>
              <a:t>Analysis Models</a:t>
            </a:r>
          </a:p>
          <a:p>
            <a:r>
              <a:rPr lang="en-US" sz="2400" dirty="0"/>
              <a:t>Corporate learning models</a:t>
            </a:r>
          </a:p>
          <a:p>
            <a:r>
              <a:rPr lang="en-US" sz="2400" dirty="0"/>
              <a:t>Comparisons between different models</a:t>
            </a:r>
          </a:p>
          <a:p>
            <a:r>
              <a:rPr lang="en-US" sz="2400" dirty="0"/>
              <a:t>Waterfall model</a:t>
            </a:r>
          </a:p>
          <a:p>
            <a:r>
              <a:rPr lang="en-US" sz="2400" dirty="0"/>
              <a:t>Scrum and Kanba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group of people standing around a computer">
            <a:extLst>
              <a:ext uri="{FF2B5EF4-FFF2-40B4-BE49-F238E27FC236}">
                <a16:creationId xmlns:a16="http://schemas.microsoft.com/office/drawing/2014/main" id="{4AE92C28-8C24-4756-18CD-03F64D58FD39}"/>
              </a:ext>
            </a:extLst>
          </p:cNvPr>
          <p:cNvPicPr>
            <a:picLocks noChangeAspect="1"/>
          </p:cNvPicPr>
          <p:nvPr/>
        </p:nvPicPr>
        <p:blipFill>
          <a:blip r:embed="rId7">
            <a:extLst>
              <a:ext uri="{28A0092B-C50C-407E-A947-70E740481C1C}">
                <a14:useLocalDpi xmlns:a14="http://schemas.microsoft.com/office/drawing/2010/main" val="0"/>
              </a:ext>
            </a:extLst>
          </a:blip>
          <a:srcRect b="7010"/>
          <a:stretch/>
        </p:blipFill>
        <p:spPr>
          <a:xfrm>
            <a:off x="6818727" y="2105503"/>
            <a:ext cx="4514850" cy="358722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Agile Principles</a:t>
            </a:r>
          </a:p>
          <a:p>
            <a:r>
              <a:rPr lang="en-US" sz="2400" dirty="0"/>
              <a:t>Scrum Model</a:t>
            </a:r>
          </a:p>
          <a:p>
            <a:r>
              <a:rPr lang="en-US" sz="2400" dirty="0"/>
              <a:t>Epic</a:t>
            </a:r>
          </a:p>
          <a:p>
            <a:r>
              <a:rPr lang="en-US" sz="2400" dirty="0"/>
              <a:t>Story</a:t>
            </a:r>
          </a:p>
          <a:p>
            <a:r>
              <a:rPr lang="en-US" sz="2400" dirty="0"/>
              <a:t>Task and subtask</a:t>
            </a:r>
          </a:p>
          <a:p>
            <a:r>
              <a:rPr lang="en-US" sz="2400" dirty="0"/>
              <a:t>Spike and enabler story</a:t>
            </a:r>
          </a:p>
          <a:p>
            <a:r>
              <a:rPr lang="en-US" sz="2400" dirty="0"/>
              <a:t>Sprints</a:t>
            </a:r>
          </a:p>
          <a:p>
            <a:pPr marL="0" indent="0">
              <a:buNone/>
            </a:pP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scrum process&#10;&#10;Description automatically generated">
            <a:extLst>
              <a:ext uri="{FF2B5EF4-FFF2-40B4-BE49-F238E27FC236}">
                <a16:creationId xmlns:a16="http://schemas.microsoft.com/office/drawing/2014/main" id="{112CF655-456F-8EEC-2FAC-EBE96BFD6C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19275" y="2072010"/>
            <a:ext cx="4113754" cy="3654206"/>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A good personality and strong ethics and proper etiquette foster a positive work environment, build trust and enhance teamwork. They demonstrate professionalism, reliability and respect, making you a valued and effective employee. These traits also contribute towards personal growth and career advanc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5" name="Picture 14" descr="A person in a suit and tie&#10;&#10;Description automatically generated">
            <a:extLst>
              <a:ext uri="{FF2B5EF4-FFF2-40B4-BE49-F238E27FC236}">
                <a16:creationId xmlns:a16="http://schemas.microsoft.com/office/drawing/2014/main" id="{1A6AFAB0-E730-E70B-9E3E-6EACA7062E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56700" y="2079661"/>
            <a:ext cx="3638904" cy="3638904"/>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0A351800-C756-8B0C-5F74-6C126AEE92F2}"/>
              </a:ext>
            </a:extLst>
          </p:cNvPr>
          <p:cNvSpPr txBox="1"/>
          <p:nvPr/>
        </p:nvSpPr>
        <p:spPr>
          <a:xfrm>
            <a:off x="593744" y="2006287"/>
            <a:ext cx="5350706" cy="3785652"/>
          </a:xfrm>
          <a:prstGeom prst="rect">
            <a:avLst/>
          </a:prstGeom>
          <a:noFill/>
        </p:spPr>
        <p:txBody>
          <a:bodyPr wrap="square" rtlCol="0">
            <a:spAutoFit/>
          </a:bodyPr>
          <a:lstStyle/>
          <a:p>
            <a:r>
              <a:rPr lang="en-GB" sz="2400" dirty="0"/>
              <a:t>A Business Analyst in the software field bridges the gap between stakeholders and developers. They ensure requirements are clear, feasible, and aligned with business goals, enhancing project efficiency and success. Their role is crucial for translating business needs into technical solutions, minimizing risks, and optimizing resource utilization.</a:t>
            </a:r>
          </a:p>
        </p:txBody>
      </p:sp>
      <p:pic>
        <p:nvPicPr>
          <p:cNvPr id="9" name="Picture 8" descr="A person holding a tablet&#10;&#10;Description automatically generated">
            <a:extLst>
              <a:ext uri="{FF2B5EF4-FFF2-40B4-BE49-F238E27FC236}">
                <a16:creationId xmlns:a16="http://schemas.microsoft.com/office/drawing/2014/main" id="{4A557F56-A0BB-D953-95BA-8E96BA6D07E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00495" y="2118840"/>
            <a:ext cx="3560545" cy="3560545"/>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727</TotalTime>
  <Words>524</Words>
  <Application>Microsoft Office PowerPoint</Application>
  <PresentationFormat>Widescreen</PresentationFormat>
  <Paragraphs>74</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athe, Anshul S SBOBNG-PTIV/RA</cp:lastModifiedBy>
  <cp:revision>499</cp:revision>
  <dcterms:created xsi:type="dcterms:W3CDTF">2022-01-18T12:35:56Z</dcterms:created>
  <dcterms:modified xsi:type="dcterms:W3CDTF">2024-09-03T04:0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